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4"/>
  </p:notesMasterIdLst>
  <p:sldIdLst>
    <p:sldId id="4247" r:id="rId2"/>
    <p:sldId id="4248" r:id="rId3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87" autoAdjust="0"/>
    <p:restoredTop sz="94660"/>
  </p:normalViewPr>
  <p:slideViewPr>
    <p:cSldViewPr snapToGrid="0">
      <p:cViewPr varScale="1">
        <p:scale>
          <a:sx n="114" d="100"/>
          <a:sy n="114" d="100"/>
        </p:scale>
        <p:origin x="414" y="1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notesMaster" Target="notesMasters/notes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3334115-482C-4582-BC00-FADA3EEC99FC}" type="datetimeFigureOut">
              <a:rPr lang="en-US" smtClean="0"/>
              <a:t>5/26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86A1B2D-CF19-42D1-8B69-4387A15A23E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310096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8144303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346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7347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468209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691313EB-AA18-4EA0-BBBA-334ED253771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5579E309-C2BB-4D6A-9DB4-BD446D39A7D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7"/>
            <a:ext cx="9144000" cy="1655763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en-US"/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D41D0F1A-42BE-422F-B149-CF6495A5616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FBE1B1-C491-41E0-A583-4227A4ADE6B4}" type="datetimeFigureOut">
              <a:rPr lang="en-US" smtClean="0"/>
              <a:t>5/26/2024</a:t>
            </a:fld>
            <a:endParaRPr lang="en-US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579647CF-FDE4-40BD-9D5B-386C6366AFB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072EB332-0543-44FB-81BE-851512AA37A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EEDAC4-CBA4-4C2C-9E3B-05F61090708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7198803"/>
      </p:ext>
    </p:extLst>
  </p:cSld>
  <p:clrMapOvr>
    <a:masterClrMapping/>
  </p:clrMapOvr>
  <p:hf sldNum="0" hdr="0" ft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2BA8588F-8644-4A3A-8899-89568DD82D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22F7B115-D55B-4152-A5EA-F8E353A49BF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CAF510C8-D8AB-45A5-AA91-FD8B17B124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FBE1B1-C491-41E0-A583-4227A4ADE6B4}" type="datetimeFigureOut">
              <a:rPr lang="en-US" smtClean="0"/>
              <a:t>5/26/2024</a:t>
            </a:fld>
            <a:endParaRPr lang="en-US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86E83177-906B-4E87-AFBD-253097B237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4F307798-53C9-4E02-BA94-59F5933C43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EEDAC4-CBA4-4C2C-9E3B-05F61090708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61041439"/>
      </p:ext>
    </p:extLst>
  </p:cSld>
  <p:clrMapOvr>
    <a:masterClrMapping/>
  </p:clrMapOvr>
  <p:hf sldNum="0" hdr="0" ft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>
            <a:extLst>
              <a:ext uri="{FF2B5EF4-FFF2-40B4-BE49-F238E27FC236}">
                <a16:creationId xmlns:a16="http://schemas.microsoft.com/office/drawing/2014/main" id="{6E953105-22EA-41D2-ABF4-03B9AC3FD45E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1" y="365126"/>
            <a:ext cx="2628900" cy="5811839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86F355C3-2BFE-4569-8DD7-ACE2203AF7E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1" y="365126"/>
            <a:ext cx="7734300" cy="5811839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5AE0B8EB-6884-4BB0-BA8A-28A407B175A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FBE1B1-C491-41E0-A583-4227A4ADE6B4}" type="datetimeFigureOut">
              <a:rPr lang="en-US" smtClean="0"/>
              <a:t>5/26/2024</a:t>
            </a:fld>
            <a:endParaRPr lang="en-US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7B4DC831-32DF-4583-B5AC-A2AC42FA64C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202567D1-2EE1-484B-8D17-1B7FA70B5A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EEDAC4-CBA4-4C2C-9E3B-05F61090708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5894375"/>
      </p:ext>
    </p:extLst>
  </p:cSld>
  <p:clrMapOvr>
    <a:masterClrMapping/>
  </p:clrMapOvr>
  <p:hf sldNum="0" hdr="0" ft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600200"/>
            <a:ext cx="109728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tr-TR"/>
              <a:t>Click to edit Master text styles</a:t>
            </a:r>
          </a:p>
          <a:p>
            <a:pPr lvl="1"/>
            <a:r>
              <a:rPr lang="tr-TR"/>
              <a:t>Second level</a:t>
            </a:r>
          </a:p>
          <a:p>
            <a:pPr lvl="2"/>
            <a:r>
              <a:rPr lang="tr-TR"/>
              <a:t>Third level</a:t>
            </a:r>
          </a:p>
          <a:p>
            <a:pPr lvl="3"/>
            <a:r>
              <a:rPr lang="tr-TR"/>
              <a:t>Fourth level</a:t>
            </a:r>
          </a:p>
          <a:p>
            <a:pPr lvl="4"/>
            <a:r>
              <a:rPr lang="tr-TR"/>
              <a:t>Fifth level</a:t>
            </a:r>
            <a:endParaRPr lang="en-US"/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609600" y="275167"/>
            <a:ext cx="10972800" cy="1143000"/>
          </a:xfrm>
          <a:prstGeom prst="rect">
            <a:avLst/>
          </a:prstGeom>
        </p:spPr>
        <p:txBody>
          <a:bodyPr vert="horz"/>
          <a:lstStyle/>
          <a:p>
            <a:r>
              <a:rPr lang="tr-TR"/>
              <a:t>Click to edit Master title style</a:t>
            </a:r>
            <a:endParaRPr lang="en-US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0"/>
          </p:nvPr>
        </p:nvSpPr>
        <p:spPr>
          <a:xfrm>
            <a:off x="148167" y="6396567"/>
            <a:ext cx="11275484" cy="366184"/>
          </a:xfrm>
          <a:prstGeom prst="rect">
            <a:avLst/>
          </a:prstGeom>
        </p:spPr>
        <p:txBody>
          <a:bodyPr/>
          <a:lstStyle>
            <a:lvl1pPr algn="l" fontAlgn="auto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1"/>
          </p:nvPr>
        </p:nvSpPr>
        <p:spPr>
          <a:xfrm>
            <a:off x="11597217" y="6371167"/>
            <a:ext cx="482600" cy="364067"/>
          </a:xfrm>
          <a:prstGeom prst="rect">
            <a:avLst/>
          </a:prstGeom>
        </p:spPr>
        <p:txBody>
          <a:bodyPr/>
          <a:lstStyle>
            <a:lvl1pPr algn="l" fontAlgn="auto">
              <a:spcBef>
                <a:spcPts val="0"/>
              </a:spcBef>
              <a:spcAft>
                <a:spcPts val="0"/>
              </a:spcAft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fld id="{098E0D7C-4554-45A3-8B3D-2FE479293320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3246997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>
  <p:cSld name="Заголовок, текст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422400" y="304800"/>
            <a:ext cx="10058400" cy="1431925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sz="half" idx="1"/>
          </p:nvPr>
        </p:nvSpPr>
        <p:spPr>
          <a:xfrm>
            <a:off x="1422400" y="1981200"/>
            <a:ext cx="4927600" cy="411480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553200" y="1981200"/>
            <a:ext cx="4927600" cy="411480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1422400" y="6248401"/>
            <a:ext cx="2540000" cy="3429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4572000" y="6248400"/>
            <a:ext cx="3860800" cy="4572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8940800" y="6248400"/>
            <a:ext cx="2540000" cy="4572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6DDD231-8C1D-4330-9491-238F1CCE8550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76321806"/>
      </p:ext>
    </p:extLst>
  </p:cSld>
  <p:clrMapOvr>
    <a:masterClrMapping/>
  </p:clrMapOvr>
  <p:transition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90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4" imgH="595" progId="TCLayout.ActiveDocument.1">
                  <p:embed/>
                </p:oleObj>
              </mc:Choice>
              <mc:Fallback>
                <p:oleObj name="think-cell Slide" r:id="rId4" imgW="594" imgH="595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>
          <a:xfrm>
            <a:off x="2" y="2"/>
            <a:ext cx="158751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18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898F256F-6194-490C-839E-F1645E028C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7502" y="1"/>
            <a:ext cx="10583863" cy="704851"/>
          </a:xfrm>
        </p:spPr>
        <p:txBody>
          <a:bodyPr/>
          <a:lstStyle>
            <a:lvl1pPr>
              <a:defRPr sz="1800"/>
            </a:lvl1pPr>
          </a:lstStyle>
          <a:p>
            <a:r>
              <a:rPr lang="en-US" dirty="0"/>
              <a:t>Click to add title</a:t>
            </a:r>
            <a:endParaRPr lang="ru-RU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314327" y="1614489"/>
            <a:ext cx="11563351" cy="362902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300"/>
              </a:spcAft>
              <a:buNone/>
              <a:defRPr lang="en-US" sz="1600" b="0" dirty="0">
                <a:solidFill>
                  <a:schemeClr val="tx1"/>
                </a:solidFill>
              </a:defRPr>
            </a:lvl1pPr>
          </a:lstStyle>
          <a:p>
            <a:pPr marL="145784" lvl="0" indent="-145784">
              <a:lnSpc>
                <a:spcPct val="100000"/>
              </a:lnSpc>
              <a:spcBef>
                <a:spcPts val="0"/>
              </a:spcBef>
            </a:pPr>
            <a:r>
              <a:rPr lang="en-US" dirty="0"/>
              <a:t>Click to insert text</a:t>
            </a:r>
          </a:p>
        </p:txBody>
      </p:sp>
    </p:spTree>
    <p:extLst>
      <p:ext uri="{BB962C8B-B14F-4D97-AF65-F5344CB8AC3E}">
        <p14:creationId xmlns:p14="http://schemas.microsoft.com/office/powerpoint/2010/main" val="51921350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4CBA635-E5A5-482C-83D9-1795ABB42CED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26/2024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CC7E91-F212-422B-A2D7-279263C85578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2C478E67-C2AD-0E00-B1B1-40AC46FF2E8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281074" y="6010015"/>
            <a:ext cx="2657475" cy="523875"/>
          </a:xfrm>
          <a:prstGeom prst="rect">
            <a:avLst/>
          </a:prstGeom>
        </p:spPr>
      </p:pic>
      <p:pic>
        <p:nvPicPr>
          <p:cNvPr id="13" name="Picture 12" descr="A blue and yellow graduation cap with a yellow circle around it&#10;&#10;Description automatically generated">
            <a:extLst>
              <a:ext uri="{FF2B5EF4-FFF2-40B4-BE49-F238E27FC236}">
                <a16:creationId xmlns:a16="http://schemas.microsoft.com/office/drawing/2014/main" id="{67B86FBD-E490-6937-C48E-9A8A54B0041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3790" y="351487"/>
            <a:ext cx="1112522" cy="1350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669271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6A16579E-CEA1-4B7B-A44B-B8ED64D545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EA7B1A89-B8BA-444B-8F93-9A6F60C7BAB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7B526711-BE0B-460E-A492-65EF59915A2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FBE1B1-C491-41E0-A583-4227A4ADE6B4}" type="datetimeFigureOut">
              <a:rPr lang="en-US" smtClean="0"/>
              <a:t>5/26/2024</a:t>
            </a:fld>
            <a:endParaRPr lang="en-US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CB53A0FC-04CA-487B-80F7-C55A9A2EB4A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0E5C90A7-116C-49DC-B8FE-68050278CC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EEDAC4-CBA4-4C2C-9E3B-05F61090708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3077888"/>
      </p:ext>
    </p:extLst>
  </p:cSld>
  <p:clrMapOvr>
    <a:masterClrMapping/>
  </p:clrMapOvr>
  <p:hf sldNum="0" hdr="0" ft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AB4FB566-D1B3-45CA-B879-13930E23EE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1" y="1709740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4B15FFFB-19B1-49D0-B948-D805C4A9E34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1" y="4589464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FA1BD9D9-8926-4B3D-9E04-5210F4809EE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FBE1B1-C491-41E0-A583-4227A4ADE6B4}" type="datetimeFigureOut">
              <a:rPr lang="en-US" smtClean="0"/>
              <a:t>5/26/2024</a:t>
            </a:fld>
            <a:endParaRPr lang="en-US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1E01D637-DBC9-4077-B224-3438BDFB344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10C825C0-5C0D-4D81-A01E-B11BC3B113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EEDAC4-CBA4-4C2C-9E3B-05F61090708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7278156"/>
      </p:ext>
    </p:extLst>
  </p:cSld>
  <p:clrMapOvr>
    <a:masterClrMapping/>
  </p:clrMapOvr>
  <p:hf sldNum="0"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01BB4672-2EE0-42DC-8411-6E30207CB9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2E94E52C-F3B5-4CBC-B7FF-C95CC310574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9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5F893E57-953A-4A04-A1A9-F5BC6B67AF7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9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8685B3BD-6CFF-4184-9CEE-C1F17746E1F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FBE1B1-C491-41E0-A583-4227A4ADE6B4}" type="datetimeFigureOut">
              <a:rPr lang="en-US" smtClean="0"/>
              <a:t>5/26/2024</a:t>
            </a:fld>
            <a:endParaRPr lang="en-US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7CA065B2-7E84-468A-A506-19840D46E05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A6423599-746B-4877-AE9C-B0C8FFB6AD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EEDAC4-CBA4-4C2C-9E3B-05F61090708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25906251"/>
      </p:ext>
    </p:extLst>
  </p:cSld>
  <p:clrMapOvr>
    <a:masterClrMapping/>
  </p:clrMapOvr>
  <p:hf sldNum="0"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5D4AE1C-7948-4EFF-AFA5-E59C6116CA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D499EC2C-69FD-4A22-B49A-3AB32DFB143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F5179D75-5F18-4D8B-9AC9-8B30E7D03EE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64B1A94F-A375-434C-B6ED-12FACE475B8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1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>
            <a:extLst>
              <a:ext uri="{FF2B5EF4-FFF2-40B4-BE49-F238E27FC236}">
                <a16:creationId xmlns:a16="http://schemas.microsoft.com/office/drawing/2014/main" id="{4D9EE1EB-F066-4959-AF96-47A5F0A20542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1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7" name="Дата 6">
            <a:extLst>
              <a:ext uri="{FF2B5EF4-FFF2-40B4-BE49-F238E27FC236}">
                <a16:creationId xmlns:a16="http://schemas.microsoft.com/office/drawing/2014/main" id="{C8F40F5C-2E01-4077-872E-45BB6BD5432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FBE1B1-C491-41E0-A583-4227A4ADE6B4}" type="datetimeFigureOut">
              <a:rPr lang="en-US" smtClean="0"/>
              <a:t>5/26/2024</a:t>
            </a:fld>
            <a:endParaRPr lang="en-US"/>
          </a:p>
        </p:txBody>
      </p:sp>
      <p:sp>
        <p:nvSpPr>
          <p:cNvPr id="8" name="Нижний колонтитул 7">
            <a:extLst>
              <a:ext uri="{FF2B5EF4-FFF2-40B4-BE49-F238E27FC236}">
                <a16:creationId xmlns:a16="http://schemas.microsoft.com/office/drawing/2014/main" id="{1E782A95-9B63-40D5-86F5-9B6EA26A1E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Номер слайда 8">
            <a:extLst>
              <a:ext uri="{FF2B5EF4-FFF2-40B4-BE49-F238E27FC236}">
                <a16:creationId xmlns:a16="http://schemas.microsoft.com/office/drawing/2014/main" id="{B74C4922-1C38-4129-929A-8E26885A53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EEDAC4-CBA4-4C2C-9E3B-05F61090708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28624321"/>
      </p:ext>
    </p:extLst>
  </p:cSld>
  <p:clrMapOvr>
    <a:masterClrMapping/>
  </p:clrMapOvr>
  <p:hf sldNum="0"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3C1A316A-04E1-4A58-99DF-52F508E8E5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id="{C0107EE5-709C-43FD-8075-90E93593DA4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FBE1B1-C491-41E0-A583-4227A4ADE6B4}" type="datetimeFigureOut">
              <a:rPr lang="en-US" smtClean="0"/>
              <a:t>5/26/2024</a:t>
            </a:fld>
            <a:endParaRPr lang="en-US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id="{144898B4-E170-4C47-AD56-96FF866D19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1CCA5E79-B01F-44EA-8466-093A22D94C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EEDAC4-CBA4-4C2C-9E3B-05F61090708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0760307"/>
      </p:ext>
    </p:extLst>
  </p:cSld>
  <p:clrMapOvr>
    <a:masterClrMapping/>
  </p:clrMapOvr>
  <p:hf sldNum="0" hdr="0" ft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>
            <a:extLst>
              <a:ext uri="{FF2B5EF4-FFF2-40B4-BE49-F238E27FC236}">
                <a16:creationId xmlns:a16="http://schemas.microsoft.com/office/drawing/2014/main" id="{CB22C399-1CAE-4694-B058-43F2BD2CCC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FBE1B1-C491-41E0-A583-4227A4ADE6B4}" type="datetimeFigureOut">
              <a:rPr lang="en-US" smtClean="0"/>
              <a:t>5/26/2024</a:t>
            </a:fld>
            <a:endParaRPr lang="en-US"/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id="{EDB6941A-BF06-4D02-8DF5-C80ED81AD9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9BD3D347-BC0F-4168-B898-3345658373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EEDAC4-CBA4-4C2C-9E3B-05F61090708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80398045"/>
      </p:ext>
    </p:extLst>
  </p:cSld>
  <p:clrMapOvr>
    <a:masterClrMapping/>
  </p:clrMapOvr>
  <p:hf sldNum="0" hdr="0" ft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61C08DB9-3C3A-4265-8FBA-EE656EDDD6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D83C6650-5BAA-470B-9224-83FB7EDFDEC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6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A07EF666-DA08-4D8C-9835-9D6C8D7E6AC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1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B4F57DC1-FF20-4AD4-9218-FCA3E7FCA1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FBE1B1-C491-41E0-A583-4227A4ADE6B4}" type="datetimeFigureOut">
              <a:rPr lang="en-US" smtClean="0"/>
              <a:t>5/26/2024</a:t>
            </a:fld>
            <a:endParaRPr lang="en-US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2AB08242-525A-43EE-A773-8EC836D5305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87F4F841-1651-4C19-921B-FF974716D4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EEDAC4-CBA4-4C2C-9E3B-05F61090708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5611237"/>
      </p:ext>
    </p:extLst>
  </p:cSld>
  <p:clrMapOvr>
    <a:masterClrMapping/>
  </p:clrMapOvr>
  <p:hf sldNum="0" hdr="0" ft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1434D122-E620-4F2D-A01C-B65FB12E05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3" name="Рисунок 2">
            <a:extLst>
              <a:ext uri="{FF2B5EF4-FFF2-40B4-BE49-F238E27FC236}">
                <a16:creationId xmlns:a16="http://schemas.microsoft.com/office/drawing/2014/main" id="{EE8ED448-A54E-44B2-9ABD-7B5DAC23D5C3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6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ECDADB10-E330-4401-9593-09F5D3DEBA3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1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F6ED2969-9372-4216-9A7B-E4DF3F00FA3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FBE1B1-C491-41E0-A583-4227A4ADE6B4}" type="datetimeFigureOut">
              <a:rPr lang="en-US" smtClean="0"/>
              <a:t>5/26/2024</a:t>
            </a:fld>
            <a:endParaRPr lang="en-US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4878840F-0FE7-4A65-902C-056BA7EB5B7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E82BC2AA-4DCB-46E0-B2B2-B3D1B12642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EEDAC4-CBA4-4C2C-9E3B-05F61090708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2773614"/>
      </p:ext>
    </p:extLst>
  </p:cSld>
  <p:clrMapOvr>
    <a:masterClrMapping/>
  </p:clrMapOvr>
  <p:hf sldNum="0" hdr="0" ft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36B472A6-CE11-44CF-85EA-04F9D024C5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"/>
            <a:ext cx="10515600" cy="109786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4BEA31ED-AC77-4639-B8D6-23FF5AA03DC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304260"/>
            <a:ext cx="10515600" cy="487270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C676D28A-ED19-4AB9-8C91-88E744D3A8A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Bahnschrift Condensed" panose="020B0502040204020203" pitchFamily="34" charset="0"/>
              </a:defRPr>
            </a:lvl1pPr>
          </a:lstStyle>
          <a:p>
            <a:fld id="{EDFBE1B1-C491-41E0-A583-4227A4ADE6B4}" type="datetimeFigureOut">
              <a:rPr lang="en-US" smtClean="0"/>
              <a:pPr/>
              <a:t>5/26/2024</a:t>
            </a:fld>
            <a:endParaRPr lang="en-US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4FBABE1F-37FE-46F1-9610-73A82DE6CA3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Bahnschrift Condensed" panose="020B0502040204020203" pitchFamily="34" charset="0"/>
              </a:defRPr>
            </a:lvl1pPr>
          </a:lstStyle>
          <a:p>
            <a:endParaRPr lang="en-US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5F0566A6-2303-4B2F-B30F-C74C06D26A7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Bahnschrift Condensed" panose="020B0502040204020203" pitchFamily="34" charset="0"/>
              </a:defRPr>
            </a:lvl1pPr>
          </a:lstStyle>
          <a:p>
            <a:fld id="{DCEEDAC4-CBA4-4C2C-9E3B-05F61090708A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8" name="Picture 7" descr="A blue and yellow graduation cap with a yellow circle around it&#10;&#10;Description automatically generated">
            <a:extLst>
              <a:ext uri="{FF2B5EF4-FFF2-40B4-BE49-F238E27FC236}">
                <a16:creationId xmlns:a16="http://schemas.microsoft.com/office/drawing/2014/main" id="{2099DC62-6626-0912-EF03-EC21C23906E3}"/>
              </a:ext>
            </a:extLst>
          </p:cNvPr>
          <p:cNvPicPr>
            <a:picLocks noChangeAspect="1"/>
          </p:cNvPicPr>
          <p:nvPr userDrawn="1"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08277" y="201859"/>
            <a:ext cx="387235" cy="4699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47440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sldNum="0"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accent5">
              <a:lumMod val="75000"/>
            </a:schemeClr>
          </a:solidFill>
          <a:latin typeface="Bahnschrift Condensed" panose="020B0502040204020203" pitchFamily="34" charset="0"/>
          <a:ea typeface="+mj-ea"/>
          <a:cs typeface="+mj-cs"/>
        </a:defRPr>
      </a:lvl1pPr>
    </p:titleStyle>
    <p:bodyStyle>
      <a:lvl1pPr marL="228594" indent="-228594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Bahnschrift Condensed" panose="020B0502040204020203" pitchFamily="34" charset="0"/>
          <a:ea typeface="+mn-ea"/>
          <a:cs typeface="+mn-cs"/>
        </a:defRPr>
      </a:lvl1pPr>
      <a:lvl2pPr marL="68578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Bahnschrift Condensed" panose="020B0502040204020203" pitchFamily="34" charset="0"/>
          <a:ea typeface="+mn-ea"/>
          <a:cs typeface="+mn-cs"/>
        </a:defRPr>
      </a:lvl2pPr>
      <a:lvl3pPr marL="1142971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Bahnschrift Condensed" panose="020B0502040204020203" pitchFamily="34" charset="0"/>
          <a:ea typeface="+mn-ea"/>
          <a:cs typeface="+mn-cs"/>
        </a:defRPr>
      </a:lvl3pPr>
      <a:lvl4pPr marL="1600160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Bahnschrift Condensed" panose="020B0502040204020203" pitchFamily="34" charset="0"/>
          <a:ea typeface="+mn-ea"/>
          <a:cs typeface="+mn-cs"/>
        </a:defRPr>
      </a:lvl4pPr>
      <a:lvl5pPr marL="2057349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Bahnschrift Condensed" panose="020B0502040204020203" pitchFamily="34" charset="0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9.jpeg"/><Relationship Id="rId5" Type="http://schemas.openxmlformats.org/officeDocument/2006/relationships/image" Target="../media/image8.jpeg"/><Relationship Id="rId4" Type="http://schemas.openxmlformats.org/officeDocument/2006/relationships/image" Target="../media/image7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11.png"/><Relationship Id="rId4" Type="http://schemas.openxmlformats.org/officeDocument/2006/relationships/oleObject" Target="../embeddings/oleObject2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152401" y="36023"/>
            <a:ext cx="9344225" cy="70096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ts val="5467"/>
              </a:lnSpc>
              <a:defRPr/>
            </a:pPr>
            <a:r>
              <a:rPr lang="en-US" sz="2800" dirty="0">
                <a:latin typeface="Century Gothic" panose="020B0502020202020204" pitchFamily="34" charset="0"/>
                <a:cs typeface="Arial" pitchFamily="34" charset="0"/>
              </a:rPr>
              <a:t>A3:                     </a:t>
            </a:r>
            <a:r>
              <a:rPr lang="ru-RU" sz="2800" dirty="0">
                <a:latin typeface="Century Gothic" panose="020B0502020202020204" pitchFamily="34" charset="0"/>
                <a:cs typeface="Arial" pitchFamily="34" charset="0"/>
              </a:rPr>
              <a:t>Сюжетная линия решения проблем</a:t>
            </a:r>
            <a:endParaRPr lang="en-US" sz="2800" dirty="0">
              <a:latin typeface="Century Gothic" panose="020B0502020202020204" pitchFamily="34" charset="0"/>
              <a:cs typeface="Arial" pitchFamily="34" charset="0"/>
            </a:endParaRPr>
          </a:p>
        </p:txBody>
      </p:sp>
      <p:pic>
        <p:nvPicPr>
          <p:cNvPr id="27651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4956" y="2101427"/>
            <a:ext cx="2023533" cy="1943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7652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4956" y="4260428"/>
            <a:ext cx="2023533" cy="19346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7653" name="TextBox 5"/>
          <p:cNvSpPr txBox="1">
            <a:spLocks noChangeArrowheads="1"/>
          </p:cNvSpPr>
          <p:nvPr/>
        </p:nvSpPr>
        <p:spPr bwMode="auto">
          <a:xfrm>
            <a:off x="345057" y="1246294"/>
            <a:ext cx="3237781" cy="6669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Основные инструменты </a:t>
            </a:r>
            <a:b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</a:b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для анализа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:</a:t>
            </a: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27654" name="TextBox 8"/>
          <p:cNvSpPr txBox="1">
            <a:spLocks noChangeArrowheads="1"/>
          </p:cNvSpPr>
          <p:nvPr/>
        </p:nvSpPr>
        <p:spPr bwMode="auto">
          <a:xfrm>
            <a:off x="7520517" y="4044527"/>
            <a:ext cx="254000" cy="8101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SMART</a:t>
            </a:r>
            <a:endParaRPr kumimoji="0" lang="ru-RU" sz="900" b="1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26633" name="Rectangle 9"/>
          <p:cNvSpPr>
            <a:spLocks noChangeArrowheads="1"/>
          </p:cNvSpPr>
          <p:nvPr/>
        </p:nvSpPr>
        <p:spPr bwMode="auto">
          <a:xfrm>
            <a:off x="1531173" y="2162811"/>
            <a:ext cx="823384" cy="64346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РЫБИЙ </a:t>
            </a:r>
          </a:p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СКЕЛЕТ</a:t>
            </a:r>
          </a:p>
        </p:txBody>
      </p:sp>
      <p:sp>
        <p:nvSpPr>
          <p:cNvPr id="26634" name="Rectangle 10"/>
          <p:cNvSpPr>
            <a:spLocks noChangeArrowheads="1"/>
          </p:cNvSpPr>
          <p:nvPr/>
        </p:nvSpPr>
        <p:spPr bwMode="auto">
          <a:xfrm>
            <a:off x="1531173" y="4347211"/>
            <a:ext cx="823384" cy="64346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5 ПОЧЕМУ</a:t>
            </a:r>
          </a:p>
        </p:txBody>
      </p:sp>
      <p:pic>
        <p:nvPicPr>
          <p:cNvPr id="27657" name="Picture 12" descr="Безымянный3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58684" y="1193583"/>
            <a:ext cx="8159749" cy="54948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2" descr="Описание: http://www.practicallyperfectpa.com/wp-content/uploads/2013/11/smart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7475"/>
          <a:stretch>
            <a:fillRect/>
          </a:stretch>
        </p:blipFill>
        <p:spPr bwMode="auto">
          <a:xfrm>
            <a:off x="6954681" y="4415082"/>
            <a:ext cx="677004" cy="8918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7254418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203200" y="29633"/>
            <a:ext cx="11802533" cy="958851"/>
          </a:xfrm>
          <a:prstGeom prst="rect">
            <a:avLst/>
          </a:prstGeom>
        </p:spPr>
        <p:txBody>
          <a:bodyPr>
            <a:normAutofit/>
          </a:bodyPr>
          <a:lstStyle/>
          <a:p>
            <a:pPr algn="l" eaLnBrk="1" hangingPunct="1">
              <a:defRPr/>
            </a:pPr>
            <a:r>
              <a:rPr lang="ru-RU" sz="3600" dirty="0">
                <a:latin typeface="Century Gothic" panose="020B0502020202020204" pitchFamily="34" charset="0"/>
                <a:cs typeface="Arial" pitchFamily="34" charset="0"/>
              </a:rPr>
              <a:t>Когда нужен А</a:t>
            </a:r>
            <a:r>
              <a:rPr lang="nl-NL" sz="3600" dirty="0">
                <a:latin typeface="Century Gothic" panose="020B0502020202020204" pitchFamily="34" charset="0"/>
                <a:cs typeface="Arial" pitchFamily="34" charset="0"/>
              </a:rPr>
              <a:t>3?</a:t>
            </a:r>
            <a:endParaRPr lang="en-US" sz="3600" dirty="0">
              <a:latin typeface="Century Gothic" panose="020B0502020202020204" pitchFamily="34" charset="0"/>
              <a:cs typeface="Arial" pitchFamily="34" charset="0"/>
            </a:endParaRPr>
          </a:p>
        </p:txBody>
      </p:sp>
      <p:sp>
        <p:nvSpPr>
          <p:cNvPr id="28675" name="TextBox 20"/>
          <p:cNvSpPr txBox="1">
            <a:spLocks noChangeArrowheads="1"/>
          </p:cNvSpPr>
          <p:nvPr/>
        </p:nvSpPr>
        <p:spPr bwMode="auto">
          <a:xfrm>
            <a:off x="9175751" y="5675361"/>
            <a:ext cx="1994457" cy="738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>
                <a:ln>
                  <a:noFill/>
                </a:ln>
                <a:solidFill>
                  <a:srgbClr val="222268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Простая проблема,</a:t>
            </a:r>
          </a:p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>
                <a:ln>
                  <a:noFill/>
                </a:ln>
                <a:solidFill>
                  <a:srgbClr val="222268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лёгкое решение</a:t>
            </a:r>
          </a:p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>
                <a:ln>
                  <a:noFill/>
                </a:ln>
                <a:solidFill>
                  <a:srgbClr val="222268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(от 0 до 2 часов)</a:t>
            </a:r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srgbClr val="222268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28676" name="TextBox 21"/>
          <p:cNvSpPr txBox="1">
            <a:spLocks noChangeArrowheads="1"/>
          </p:cNvSpPr>
          <p:nvPr/>
        </p:nvSpPr>
        <p:spPr bwMode="auto">
          <a:xfrm>
            <a:off x="6011333" y="5778559"/>
            <a:ext cx="1944763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>
                <a:ln>
                  <a:noFill/>
                </a:ln>
                <a:solidFill>
                  <a:srgbClr val="4597A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Простая проблема</a:t>
            </a:r>
          </a:p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>
                <a:ln>
                  <a:noFill/>
                </a:ln>
                <a:solidFill>
                  <a:srgbClr val="4597A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(от 2 до 4 часов)</a:t>
            </a:r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srgbClr val="4597A0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28677" name="TextBox 22"/>
          <p:cNvSpPr txBox="1">
            <a:spLocks noChangeArrowheads="1"/>
          </p:cNvSpPr>
          <p:nvPr/>
        </p:nvSpPr>
        <p:spPr bwMode="auto">
          <a:xfrm>
            <a:off x="4591680" y="2205798"/>
            <a:ext cx="1981633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33CC33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Сложная проблема</a:t>
            </a:r>
          </a:p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33CC33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(от 1 и более дней)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33CC33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28678" name="TextBox 23"/>
          <p:cNvSpPr txBox="1">
            <a:spLocks noChangeArrowheads="1"/>
          </p:cNvSpPr>
          <p:nvPr/>
        </p:nvSpPr>
        <p:spPr bwMode="auto">
          <a:xfrm>
            <a:off x="8213730" y="1786044"/>
            <a:ext cx="2424062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Хроническая проблема,</a:t>
            </a:r>
          </a:p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(от 3 до 12 месяцев)</a:t>
            </a:r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25" name="Rounded Rectangle 8"/>
          <p:cNvSpPr/>
          <p:nvPr/>
        </p:nvSpPr>
        <p:spPr>
          <a:xfrm>
            <a:off x="1957918" y="1786045"/>
            <a:ext cx="9662583" cy="2087033"/>
          </a:xfrm>
          <a:prstGeom prst="roundRect">
            <a:avLst/>
          </a:prstGeom>
          <a:noFill/>
          <a:ln>
            <a:solidFill>
              <a:srgbClr val="0067B1"/>
            </a:solidFill>
          </a:ln>
          <a:effectLst>
            <a:outerShdw blurRad="50800" dist="190500" dir="18900000" algn="bl" rotWithShape="0">
              <a:srgbClr val="0067B1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grpSp>
        <p:nvGrpSpPr>
          <p:cNvPr id="26" name="Group 14"/>
          <p:cNvGrpSpPr>
            <a:grpSpLocks/>
          </p:cNvGrpSpPr>
          <p:nvPr/>
        </p:nvGrpSpPr>
        <p:grpSpPr bwMode="auto">
          <a:xfrm>
            <a:off x="461434" y="4277360"/>
            <a:ext cx="3713876" cy="772584"/>
            <a:chOff x="546" y="3392"/>
            <a:chExt cx="1341" cy="486"/>
          </a:xfrm>
        </p:grpSpPr>
        <p:sp>
          <p:nvSpPr>
            <p:cNvPr id="28688" name="Rectangle 7"/>
            <p:cNvSpPr>
              <a:spLocks noChangeArrowheads="1"/>
            </p:cNvSpPr>
            <p:nvPr/>
          </p:nvSpPr>
          <p:spPr bwMode="auto">
            <a:xfrm>
              <a:off x="546" y="3392"/>
              <a:ext cx="1341" cy="464"/>
            </a:xfrm>
            <a:prstGeom prst="rect">
              <a:avLst/>
            </a:prstGeom>
            <a:noFill/>
            <a:ln w="9525">
              <a:solidFill>
                <a:srgbClr val="96969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anchor="ctr"/>
            <a:lstStyle/>
            <a:p>
              <a:pPr marL="0" marR="0" lvl="0" indent="0" algn="r" defTabSz="1219170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969696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rPr>
                <a:t>Используйте только </a:t>
              </a:r>
            </a:p>
            <a:p>
              <a:pPr marL="0" marR="0" lvl="0" indent="0" algn="r" defTabSz="1219170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969696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rPr>
                <a:t>подходящие методы</a:t>
              </a:r>
            </a:p>
          </p:txBody>
        </p:sp>
        <p:pic>
          <p:nvPicPr>
            <p:cNvPr id="28689" name="Flowchart: Extract 8"/>
            <p:cNvPicPr>
              <a:picLocks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8621" t="11809" r="-1035" b="27055"/>
            <a:stretch>
              <a:fillRect/>
            </a:stretch>
          </p:blipFill>
          <p:spPr bwMode="auto">
            <a:xfrm>
              <a:off x="636" y="3469"/>
              <a:ext cx="318" cy="40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9" name="Rounded Rectangle 8"/>
          <p:cNvSpPr/>
          <p:nvPr/>
        </p:nvSpPr>
        <p:spPr>
          <a:xfrm>
            <a:off x="5374217" y="5600277"/>
            <a:ext cx="6246283" cy="1049867"/>
          </a:xfrm>
          <a:prstGeom prst="roundRect">
            <a:avLst/>
          </a:prstGeom>
          <a:noFill/>
          <a:ln>
            <a:solidFill>
              <a:srgbClr val="0067B1"/>
            </a:solidFill>
          </a:ln>
          <a:effectLst>
            <a:outerShdw blurRad="50800" dist="190500" dir="18900000" algn="bl" rotWithShape="0">
              <a:srgbClr val="0067B1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30" name="Скругленный прямоугольник 29"/>
          <p:cNvSpPr/>
          <p:nvPr/>
        </p:nvSpPr>
        <p:spPr>
          <a:xfrm>
            <a:off x="317501" y="1900344"/>
            <a:ext cx="4138084" cy="1657349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31" name="Прямоугольник 30"/>
          <p:cNvSpPr/>
          <p:nvPr/>
        </p:nvSpPr>
        <p:spPr>
          <a:xfrm>
            <a:off x="2611119" y="5524247"/>
            <a:ext cx="3790308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srgbClr val="4F81BD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itchFamily="34" charset="0"/>
              </a:rPr>
              <a:t>«Рыбий скелет»,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4F81BD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Arial" pitchFamily="34" charset="0"/>
            </a:endParaRPr>
          </a:p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srgbClr val="4F81BD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itchFamily="34" charset="0"/>
              </a:rPr>
              <a:t>5 Почему</a:t>
            </a:r>
          </a:p>
        </p:txBody>
      </p:sp>
      <p:sp>
        <p:nvSpPr>
          <p:cNvPr id="32" name="Rectangle 9"/>
          <p:cNvSpPr/>
          <p:nvPr/>
        </p:nvSpPr>
        <p:spPr>
          <a:xfrm>
            <a:off x="261707" y="1861970"/>
            <a:ext cx="3680373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200" b="0" i="0" u="none" strike="noStrike" kern="1200" cap="none" spc="0" normalizeH="0" baseline="0" noProof="0" dirty="0">
                <a:ln>
                  <a:noFill/>
                </a:ln>
                <a:solidFill>
                  <a:srgbClr val="4F81BD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itchFamily="34" charset="0"/>
              </a:rPr>
              <a:t>Решение</a:t>
            </a:r>
          </a:p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200" b="0" i="0" u="none" strike="noStrike" kern="1200" cap="none" spc="0" normalizeH="0" baseline="0" noProof="0" dirty="0">
                <a:ln>
                  <a:noFill/>
                </a:ln>
                <a:solidFill>
                  <a:srgbClr val="4F81BD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itchFamily="34" charset="0"/>
              </a:rPr>
              <a:t>через А3</a:t>
            </a:r>
            <a:endParaRPr kumimoji="0" lang="en-US" sz="3200" b="0" i="0" u="none" strike="noStrike" kern="1200" cap="none" spc="0" normalizeH="0" baseline="0" noProof="0" dirty="0">
              <a:ln>
                <a:noFill/>
              </a:ln>
              <a:solidFill>
                <a:srgbClr val="4F81BD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Arial" pitchFamily="34" charset="0"/>
            </a:endParaRPr>
          </a:p>
        </p:txBody>
      </p:sp>
      <p:grpSp>
        <p:nvGrpSpPr>
          <p:cNvPr id="28685" name="Группа 3"/>
          <p:cNvGrpSpPr>
            <a:grpSpLocks/>
          </p:cNvGrpSpPr>
          <p:nvPr/>
        </p:nvGrpSpPr>
        <p:grpSpPr bwMode="auto">
          <a:xfrm>
            <a:off x="5632451" y="1688678"/>
            <a:ext cx="5137149" cy="4548716"/>
            <a:chOff x="4071543" y="916592"/>
            <a:chExt cx="3853653" cy="3411140"/>
          </a:xfrm>
        </p:grpSpPr>
        <p:graphicFrame>
          <p:nvGraphicFramePr>
            <p:cNvPr id="28686" name="Chart 3"/>
            <p:cNvGraphicFramePr>
              <a:graphicFrameLocks/>
            </p:cNvGraphicFramePr>
            <p:nvPr/>
          </p:nvGraphicFramePr>
          <p:xfrm>
            <a:off x="4071543" y="916592"/>
            <a:ext cx="3853653" cy="3411140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r:id="rId4" imgW="5133277" imgH="4548010" progId="Excel.Chart.8">
                    <p:embed/>
                  </p:oleObj>
                </mc:Choice>
                <mc:Fallback>
                  <p:oleObj r:id="rId4" imgW="5133277" imgH="4548010" progId="Excel.Chart.8">
                    <p:embed/>
                    <p:pic>
                      <p:nvPicPr>
                        <p:cNvPr id="28686" name="Chart 3"/>
                        <p:cNvPicPr>
                          <a:picLocks noChangeArrowheads="1"/>
                        </p:cNvPicPr>
                        <p:nvPr/>
                      </p:nvPicPr>
                      <p:blipFill>
                        <a:blip r:embed="rId5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4071543" y="916592"/>
                          <a:ext cx="3853653" cy="3411140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rgbClr val="FFFFFF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sp>
          <p:nvSpPr>
            <p:cNvPr id="33" name="Прямоугольник 32"/>
            <p:cNvSpPr/>
            <p:nvPr/>
          </p:nvSpPr>
          <p:spPr>
            <a:xfrm>
              <a:off x="6499328" y="2713433"/>
              <a:ext cx="847899" cy="269844"/>
            </a:xfrm>
            <a:prstGeom prst="rect">
              <a:avLst/>
            </a:prstGeom>
            <a:solidFill>
              <a:srgbClr val="00206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rPr>
                <a:t>60%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94211509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1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7" dur="20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 nodeType="afterGroup">
                            <p:stCondLst>
                              <p:cond delay="20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 nodeType="clickPar">
                      <p:stCondLst>
                        <p:cond delay="indefinite"/>
                      </p:stCondLst>
                      <p:childTnLst>
                        <p:par>
                          <p:cTn id="13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4" presetID="21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6" dur="20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 nodeType="afterGroup">
                            <p:stCondLst>
                              <p:cond delay="2000"/>
                            </p:stCondLst>
                            <p:childTnLst>
                              <p:par>
                                <p:cTn id="18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 nodeType="afterGroup">
                            <p:stCondLst>
                              <p:cond delay="2000"/>
                            </p:stCondLst>
                            <p:childTnLst>
                              <p:par>
                                <p:cTn id="21" presetID="19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1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1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5" grpId="0" animBg="1"/>
      <p:bldP spid="29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77</Words>
  <Application>Microsoft Office PowerPoint</Application>
  <PresentationFormat>Widescreen</PresentationFormat>
  <Paragraphs>23</Paragraphs>
  <Slides>2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2</vt:i4>
      </vt:variant>
    </vt:vector>
  </HeadingPairs>
  <TitlesOfParts>
    <vt:vector size="9" baseType="lpstr">
      <vt:lpstr>Arial</vt:lpstr>
      <vt:lpstr>Bahnschrift Condensed</vt:lpstr>
      <vt:lpstr>Calibri</vt:lpstr>
      <vt:lpstr>Century Gothic</vt:lpstr>
      <vt:lpstr>Тема Office</vt:lpstr>
      <vt:lpstr>think-cell Slide</vt:lpstr>
      <vt:lpstr>Microsoft Excel Chart</vt:lpstr>
      <vt:lpstr>A3:                     Сюжетная линия решения проблем</vt:lpstr>
      <vt:lpstr>Когда нужен А3?</vt:lpstr>
    </vt:vector>
  </TitlesOfParts>
  <Company>Philip Morris Internationa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3:                     Сюжетная линия решения проблем</dc:title>
  <dc:creator>Aikeyev, Abylay</dc:creator>
  <cp:lastModifiedBy>Aikeyev, Abylay</cp:lastModifiedBy>
  <cp:revision>1</cp:revision>
  <dcterms:created xsi:type="dcterms:W3CDTF">2024-05-26T16:51:16Z</dcterms:created>
  <dcterms:modified xsi:type="dcterms:W3CDTF">2024-05-26T16:51:36Z</dcterms:modified>
</cp:coreProperties>
</file>